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61" r:id="rId2"/>
    <p:sldId id="26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792" autoAdjust="0"/>
  </p:normalViewPr>
  <p:slideViewPr>
    <p:cSldViewPr snapToGrid="0">
      <p:cViewPr varScale="1">
        <p:scale>
          <a:sx n="62" d="100"/>
          <a:sy n="62" d="100"/>
        </p:scale>
        <p:origin x="82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BDE3BE-C96F-4B4C-869A-869FC7685A2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85EA70-9CEE-4518-A9C9-2043074E33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331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eilgodding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podcast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neil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godding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39C471-C300-40A2-BB36-2ADD6B06DD7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171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3D91E-AD7E-4174-A6BD-4E0B9AFA6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CC2F0E-097E-4A69-A185-B69E5E8237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D17769-E769-4229-A296-70A675C8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87C2E-80EF-4A33-8A48-BCD68CFB2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CA7F-24D1-4724-AC16-3CECBB269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6981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5BB8B-16A4-49E6-AA23-D8076D072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958DEF-DA21-429B-9B91-DCAE932B91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254BAD-521F-4317-B823-2355AEC8E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D95BE-BD31-4742-9A9E-281B41955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FFCBAB-968A-4753-8147-EFA28BD46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7189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8F33483-4CAC-4A07-A92F-5991634834B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652AF7-5082-4481-988F-3BD41FDA1D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E9B91E-F470-4A9D-9F55-D523D7DAA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598866-A43D-4DF8-B3D4-6816694A0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DFC3EA-8E51-4B1F-B4BC-1C13B2FB1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517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F8668-FA5A-452C-8EAA-CE2547C78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D995B1-F49D-470C-9CA0-E5E1F6AD3C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586EAB-F63E-49B2-BA49-AFCD4775B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9DAD4B-0E8C-4F6D-A685-CAABEA435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5AB9D2-502A-474F-B999-8048FDFD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347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31D9-5466-4D46-94BB-D10E5F676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07D90A-3675-4868-B190-0A07278EEA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FE2C2D-F935-4D87-8732-D9AACA3CD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CD26EC-A31A-4B24-82ED-A4431CD94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DCFAF-1E1E-4DE7-B3B5-C9A873CDD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55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7ED091-8849-48B5-840A-41CAA49DE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9F69EB-3BEF-4561-974A-A9FA0ED99E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B87E93-3475-4456-9D29-CC2FFC8CD2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D8E5E8-F1E4-43E8-B94A-507FDB0FA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97847E-584E-46D1-B311-522685730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885AF2-13BA-4D5B-AAF4-6BCFBD35C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519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AD2023-52C7-4E79-B857-BA0D92B6C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B23021-E4B4-470A-9D64-9982EEA219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D373A-1A53-41BA-8DBA-C5259D91DB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47D184-22A3-48F0-9ED3-9B40F956D2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A18C47-ADA5-48E6-B9DA-C38A77E10A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962118C-72EC-4FEE-B900-8EF1A64E9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73B013-CB7C-48DA-9BBE-6E15334B3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9BB0DAD-C460-4250-9A40-A5E09CBD2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5009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97FA1-C60A-43DC-AAEB-DF0D5B6EE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DEA57F-52EC-4A2A-9E1E-34D0E4636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2877B4-C03E-4E40-8D9D-986CF76438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78E663-C6EB-47B1-AF0E-6A3A6498F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266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E248012-0024-4D33-9DBC-B3D1566F9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CA0507-8727-4DFC-A719-0CFFCE2694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DBC773-82B8-4625-BE09-1D995A213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539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A66624-8503-4E22-BBB3-22DA884D9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BEA2C5-9A1C-49E5-92AD-9E7860EDD0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F6917B-D083-4C8C-A541-19F398C531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60F7-772A-484B-A7C1-08BFB55E3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C7D9D8-737F-4953-8F03-1EF55E105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A13C51-80D9-4E83-91AE-7638BB4D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87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B81BB-60AB-4559-AD6F-776B10C3D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96D3DD-41CB-4E12-84FA-AAC7098A280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49BE37-E7CF-4C92-B411-CA77ED8859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D9E89B-BE83-482E-BE7E-75F6C476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A69EE2-C168-4B2B-BED7-6859891CF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F37461-62BE-47D5-8EF6-D0F23FF2A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6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F29CE6-2C14-42B0-B03B-018781BBA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B763CE-8DB0-4D7D-96EA-A68C3BF22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E2535-45FB-4F0E-849A-B6BFED8D50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02728F-D181-4605-9C29-F6DA7D196B91}" type="datetimeFigureOut">
              <a:rPr lang="en-US" smtClean="0"/>
              <a:t>2021-05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8F8A4-BDC6-456D-BB72-140A3344A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2B42BF-9722-4D8B-815A-804C74BCCF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928173-7D0E-4059-89BB-4C3E36A28B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76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36883-CC7F-4623-BE8C-235BD1119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8B1474-2A35-4943-B21A-03E6FE3630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4BDADC-FDDF-4EA3-BEC0-7446F6E41D55}"/>
              </a:ext>
            </a:extLst>
          </p:cNvPr>
          <p:cNvSpPr/>
          <p:nvPr/>
        </p:nvSpPr>
        <p:spPr>
          <a:xfrm>
            <a:off x="419893" y="0"/>
            <a:ext cx="11352213" cy="6858000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" name="Content Placeholder 7" descr="A metal object hanging from the ceiling&#10;&#10;Description automatically generated">
            <a:extLst>
              <a:ext uri="{FF2B5EF4-FFF2-40B4-BE49-F238E27FC236}">
                <a16:creationId xmlns:a16="http://schemas.microsoft.com/office/drawing/2014/main" id="{3423EBB3-01AD-47CD-AE2A-47C528349C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48" b="11330"/>
          <a:stretch/>
        </p:blipFill>
        <p:spPr>
          <a:xfrm>
            <a:off x="419893" y="1"/>
            <a:ext cx="11352213" cy="6858000"/>
          </a:xfrm>
          <a:prstGeom prst="rect">
            <a:avLst/>
          </a:prstGeom>
        </p:spPr>
      </p:pic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2FA3BE7E-95B4-47CF-B8C6-5E91C90D98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239" y="1027906"/>
            <a:ext cx="3986662" cy="37784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50E98DD-67D6-472E-B615-349D9C43BD60}"/>
              </a:ext>
            </a:extLst>
          </p:cNvPr>
          <p:cNvSpPr txBox="1"/>
          <p:nvPr/>
        </p:nvSpPr>
        <p:spPr>
          <a:xfrm>
            <a:off x="1294399" y="5029987"/>
            <a:ext cx="37603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</a:rPr>
              <a:t>Nwoke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3000" dirty="0">
                <a:solidFill>
                  <a:schemeClr val="bg1"/>
                </a:solidFill>
              </a:rPr>
              <a:t>Nick</a:t>
            </a:r>
            <a:r>
              <a:rPr lang="en-US" sz="2400" dirty="0">
                <a:solidFill>
                  <a:schemeClr val="bg1"/>
                </a:solidFill>
              </a:rPr>
              <a:t> &amp; Stephanie</a:t>
            </a:r>
          </a:p>
        </p:txBody>
      </p:sp>
    </p:spTree>
    <p:extLst>
      <p:ext uri="{BB962C8B-B14F-4D97-AF65-F5344CB8AC3E}">
        <p14:creationId xmlns:p14="http://schemas.microsoft.com/office/powerpoint/2010/main" val="2150424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BBB58C-CD2F-4615-B547-42AF682C22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BBB58C-CD2F-4615-B547-42AF682C2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1791A82-9789-4B5F-92E0-47060CB796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pic>
        <p:nvPicPr>
          <p:cNvPr id="8" name="Content Placeholder 7" descr="A metal object hanging from the ceiling&#10;&#10;Description automatically generated">
            <a:extLst>
              <a:ext uri="{FF2B5EF4-FFF2-40B4-BE49-F238E27FC236}">
                <a16:creationId xmlns:a16="http://schemas.microsoft.com/office/drawing/2014/main" id="{A9FF5E17-CB40-40C3-83AB-035A3B5B3F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148" b="11330"/>
          <a:stretch/>
        </p:blipFill>
        <p:spPr>
          <a:xfrm>
            <a:off x="419893" y="0"/>
            <a:ext cx="11352213" cy="6858000"/>
          </a:xfr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EE6CF73-9D48-45D3-A38D-7B4123852C6B}"/>
              </a:ext>
            </a:extLst>
          </p:cNvPr>
          <p:cNvSpPr/>
          <p:nvPr/>
        </p:nvSpPr>
        <p:spPr>
          <a:xfrm>
            <a:off x="419894" y="0"/>
            <a:ext cx="11352212" cy="6858000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7E6906-6D99-4BA4-85B9-0B56DC861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Just Getting Starte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702F6F4-791B-4C41-82AC-3363F17F29A9}"/>
              </a:ext>
            </a:extLst>
          </p:cNvPr>
          <p:cNvCxnSpPr>
            <a:cxnSpLocks/>
          </p:cNvCxnSpPr>
          <p:nvPr/>
        </p:nvCxnSpPr>
        <p:spPr>
          <a:xfrm>
            <a:off x="845389" y="2654080"/>
            <a:ext cx="653211" cy="0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AED13E-2BE1-45D0-BF9D-9DA8A48A85BB}"/>
              </a:ext>
            </a:extLst>
          </p:cNvPr>
          <p:cNvCxnSpPr>
            <a:cxnSpLocks/>
          </p:cNvCxnSpPr>
          <p:nvPr/>
        </p:nvCxnSpPr>
        <p:spPr>
          <a:xfrm>
            <a:off x="2787650" y="2654080"/>
            <a:ext cx="13462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57B29E3-85BA-43E6-B8FD-21DDCD7DB20C}"/>
              </a:ext>
            </a:extLst>
          </p:cNvPr>
          <p:cNvCxnSpPr>
            <a:cxnSpLocks/>
          </p:cNvCxnSpPr>
          <p:nvPr/>
        </p:nvCxnSpPr>
        <p:spPr>
          <a:xfrm>
            <a:off x="5429250" y="2654080"/>
            <a:ext cx="132873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97D095B-F421-4CAD-9541-27028585C3FC}"/>
              </a:ext>
            </a:extLst>
          </p:cNvPr>
          <p:cNvCxnSpPr>
            <a:cxnSpLocks/>
          </p:cNvCxnSpPr>
          <p:nvPr/>
        </p:nvCxnSpPr>
        <p:spPr>
          <a:xfrm>
            <a:off x="8024813" y="2654080"/>
            <a:ext cx="13811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C06F53-03AE-4094-9AC5-86A7208935E2}"/>
              </a:ext>
            </a:extLst>
          </p:cNvPr>
          <p:cNvCxnSpPr>
            <a:cxnSpLocks/>
          </p:cNvCxnSpPr>
          <p:nvPr/>
        </p:nvCxnSpPr>
        <p:spPr>
          <a:xfrm>
            <a:off x="10674350" y="2654080"/>
            <a:ext cx="686055" cy="0"/>
          </a:xfrm>
          <a:prstGeom prst="line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48C4C3C9-67B8-4003-94B2-2CB6B38FB098}"/>
              </a:ext>
            </a:extLst>
          </p:cNvPr>
          <p:cNvSpPr/>
          <p:nvPr/>
        </p:nvSpPr>
        <p:spPr>
          <a:xfrm>
            <a:off x="964559" y="3608385"/>
            <a:ext cx="238336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000" b="1" dirty="0">
                <a:solidFill>
                  <a:schemeClr val="bg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Getting started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E289BC6-D56E-43F0-B4E0-64B274E0153E}"/>
              </a:ext>
            </a:extLst>
          </p:cNvPr>
          <p:cNvSpPr/>
          <p:nvPr/>
        </p:nvSpPr>
        <p:spPr>
          <a:xfrm>
            <a:off x="3583934" y="3608385"/>
            <a:ext cx="238336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000" b="1" dirty="0">
                <a:solidFill>
                  <a:schemeClr val="bg1"/>
                </a:solidFill>
              </a:rPr>
              <a:t>Principle of success</a:t>
            </a:r>
            <a:endParaRPr lang="en-US" sz="2000" b="1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57CBF5-4648-4041-AFD7-19DF929BE591}"/>
              </a:ext>
            </a:extLst>
          </p:cNvPr>
          <p:cNvSpPr/>
          <p:nvPr/>
        </p:nvSpPr>
        <p:spPr>
          <a:xfrm>
            <a:off x="6212834" y="3608385"/>
            <a:ext cx="238336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000" b="1" dirty="0">
                <a:solidFill>
                  <a:schemeClr val="bg1"/>
                </a:solidFill>
                <a:effectLst/>
                <a:cs typeface="Segoe UI" panose="020B0502040204020203" pitchFamily="34" charset="0"/>
              </a:rPr>
              <a:t>We are here to make positive difference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4EA478C-731C-41A1-9667-73E226BEC5F6}"/>
              </a:ext>
            </a:extLst>
          </p:cNvPr>
          <p:cNvSpPr/>
          <p:nvPr/>
        </p:nvSpPr>
        <p:spPr>
          <a:xfrm>
            <a:off x="8860784" y="3608385"/>
            <a:ext cx="238336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000" b="1" dirty="0">
                <a:solidFill>
                  <a:schemeClr val="bg1"/>
                </a:solidFill>
              </a:rPr>
              <a:t>The choice is yours</a:t>
            </a:r>
            <a:endParaRPr lang="en-US" sz="2000" b="1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26DD431-F484-4D43-9CBD-6E055A55B0FB}"/>
              </a:ext>
            </a:extLst>
          </p:cNvPr>
          <p:cNvSpPr/>
          <p:nvPr/>
        </p:nvSpPr>
        <p:spPr>
          <a:xfrm>
            <a:off x="6971568" y="2222553"/>
            <a:ext cx="873065" cy="873065"/>
          </a:xfrm>
          <a:prstGeom prst="ellipse">
            <a:avLst/>
          </a:prstGeom>
          <a:solidFill>
            <a:srgbClr val="FFCE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F2D6790-7495-4D2A-8545-FE07C388D159}"/>
              </a:ext>
            </a:extLst>
          </p:cNvPr>
          <p:cNvSpPr/>
          <p:nvPr/>
        </p:nvSpPr>
        <p:spPr>
          <a:xfrm>
            <a:off x="6757784" y="2019958"/>
            <a:ext cx="1278255" cy="127825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25136A3-72C2-480F-8B2B-5AFBCD95012A}"/>
              </a:ext>
            </a:extLst>
          </p:cNvPr>
          <p:cNvSpPr/>
          <p:nvPr/>
        </p:nvSpPr>
        <p:spPr>
          <a:xfrm>
            <a:off x="7354474" y="3238631"/>
            <a:ext cx="107253" cy="107253"/>
          </a:xfrm>
          <a:prstGeom prst="ellipse">
            <a:avLst/>
          </a:prstGeom>
          <a:solidFill>
            <a:srgbClr val="5197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AF20F0D-C105-4F5B-A2B4-3BE5F6216944}"/>
              </a:ext>
            </a:extLst>
          </p:cNvPr>
          <p:cNvSpPr/>
          <p:nvPr/>
        </p:nvSpPr>
        <p:spPr>
          <a:xfrm>
            <a:off x="9602817" y="2222553"/>
            <a:ext cx="873065" cy="873065"/>
          </a:xfrm>
          <a:prstGeom prst="ellipse">
            <a:avLst/>
          </a:prstGeom>
          <a:solidFill>
            <a:srgbClr val="FFCE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793C636-64AE-47D1-8B4D-A5E289721A48}"/>
              </a:ext>
            </a:extLst>
          </p:cNvPr>
          <p:cNvSpPr/>
          <p:nvPr/>
        </p:nvSpPr>
        <p:spPr>
          <a:xfrm>
            <a:off x="9400222" y="2019958"/>
            <a:ext cx="1278255" cy="127825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AE7A6C4-8999-41BB-93E5-C80000698431}"/>
              </a:ext>
            </a:extLst>
          </p:cNvPr>
          <p:cNvSpPr/>
          <p:nvPr/>
        </p:nvSpPr>
        <p:spPr>
          <a:xfrm>
            <a:off x="9985723" y="3238631"/>
            <a:ext cx="107253" cy="107253"/>
          </a:xfrm>
          <a:prstGeom prst="ellipse">
            <a:avLst/>
          </a:prstGeom>
          <a:solidFill>
            <a:srgbClr val="5197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2D60B25-8B70-4FF0-8637-D18A8249CE89}"/>
              </a:ext>
            </a:extLst>
          </p:cNvPr>
          <p:cNvSpPr/>
          <p:nvPr/>
        </p:nvSpPr>
        <p:spPr>
          <a:xfrm>
            <a:off x="1714101" y="2222553"/>
            <a:ext cx="873065" cy="873065"/>
          </a:xfrm>
          <a:prstGeom prst="ellipse">
            <a:avLst/>
          </a:prstGeom>
          <a:solidFill>
            <a:srgbClr val="FFCE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749F5E3-E0D8-448F-B491-46E3A2C4DD8A}"/>
              </a:ext>
            </a:extLst>
          </p:cNvPr>
          <p:cNvSpPr/>
          <p:nvPr/>
        </p:nvSpPr>
        <p:spPr>
          <a:xfrm>
            <a:off x="1501901" y="2019958"/>
            <a:ext cx="1278255" cy="127825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7DDA6C6-BC4D-471C-A05E-AC373E229175}"/>
              </a:ext>
            </a:extLst>
          </p:cNvPr>
          <p:cNvSpPr/>
          <p:nvPr/>
        </p:nvSpPr>
        <p:spPr>
          <a:xfrm>
            <a:off x="2097007" y="3238631"/>
            <a:ext cx="107253" cy="107253"/>
          </a:xfrm>
          <a:prstGeom prst="ellipse">
            <a:avLst/>
          </a:prstGeom>
          <a:solidFill>
            <a:srgbClr val="5197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ECE65F3-E1AF-47EE-8D6C-157238BEEFC2}"/>
              </a:ext>
            </a:extLst>
          </p:cNvPr>
          <p:cNvSpPr/>
          <p:nvPr/>
        </p:nvSpPr>
        <p:spPr>
          <a:xfrm>
            <a:off x="4344872" y="2222553"/>
            <a:ext cx="873065" cy="873065"/>
          </a:xfrm>
          <a:prstGeom prst="ellipse">
            <a:avLst/>
          </a:prstGeom>
          <a:solidFill>
            <a:srgbClr val="FFCE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65833D8-7591-4C7F-8EB3-2C5553FCEA5E}"/>
              </a:ext>
            </a:extLst>
          </p:cNvPr>
          <p:cNvSpPr/>
          <p:nvPr/>
        </p:nvSpPr>
        <p:spPr>
          <a:xfrm>
            <a:off x="4141584" y="2019958"/>
            <a:ext cx="1278255" cy="1278255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79AEF8B-C2F6-46DD-A8F5-BD437D612909}"/>
              </a:ext>
            </a:extLst>
          </p:cNvPr>
          <p:cNvSpPr/>
          <p:nvPr/>
        </p:nvSpPr>
        <p:spPr>
          <a:xfrm>
            <a:off x="4727778" y="3238631"/>
            <a:ext cx="107253" cy="107253"/>
          </a:xfrm>
          <a:prstGeom prst="ellipse">
            <a:avLst/>
          </a:prstGeom>
          <a:solidFill>
            <a:srgbClr val="5197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ooter Placeholder 9">
            <a:extLst>
              <a:ext uri="{FF2B5EF4-FFF2-40B4-BE49-F238E27FC236}">
                <a16:creationId xmlns:a16="http://schemas.microsoft.com/office/drawing/2014/main" id="{FB79355B-E247-4FBA-9C3B-EAA03CE4D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11385272" y="946031"/>
            <a:ext cx="1173257" cy="249385"/>
          </a:xfrm>
        </p:spPr>
        <p:txBody>
          <a:bodyPr/>
          <a:lstStyle/>
          <a:p>
            <a:r>
              <a:rPr lang="en-ID" dirty="0">
                <a:latin typeface="Segoe UI Light" panose="020B0502040204020203" pitchFamily="34" charset="0"/>
                <a:cs typeface="Segoe UI Light" panose="020B0502040204020203" pitchFamily="34" charset="0"/>
              </a:rPr>
              <a:t>Place Footer Here</a:t>
            </a:r>
          </a:p>
        </p:txBody>
      </p:sp>
    </p:spTree>
    <p:extLst>
      <p:ext uri="{BB962C8B-B14F-4D97-AF65-F5344CB8AC3E}">
        <p14:creationId xmlns:p14="http://schemas.microsoft.com/office/powerpoint/2010/main" val="539876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XBIViKFBxiwjc7iOaS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5</TotalTime>
  <Words>35</Words>
  <Application>Microsoft Office PowerPoint</Application>
  <PresentationFormat>Widescreen</PresentationFormat>
  <Paragraphs>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Segoe UI</vt:lpstr>
      <vt:lpstr>Segoe UI Light</vt:lpstr>
      <vt:lpstr>Office Theme</vt:lpstr>
      <vt:lpstr>think-cell Slide</vt:lpstr>
      <vt:lpstr>PowerPoint Presentation</vt:lpstr>
      <vt:lpstr>Just Getting Start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dcast Planning Process</dc:title>
  <dc:creator>Meher, Motilal</dc:creator>
  <cp:lastModifiedBy>Meher, Motilal</cp:lastModifiedBy>
  <cp:revision>6</cp:revision>
  <dcterms:created xsi:type="dcterms:W3CDTF">2021-05-23T11:21:05Z</dcterms:created>
  <dcterms:modified xsi:type="dcterms:W3CDTF">2021-05-23T12:16:05Z</dcterms:modified>
</cp:coreProperties>
</file>